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2157" autoAdjust="0"/>
  </p:normalViewPr>
  <p:slideViewPr>
    <p:cSldViewPr snapToGrid="0">
      <p:cViewPr varScale="1">
        <p:scale>
          <a:sx n="70" d="100"/>
          <a:sy n="70" d="100"/>
        </p:scale>
        <p:origin x="48" y="660"/>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76BC4F77-257F-4161-A278-DD8686589AD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9D75151A-7802-45F9-8E65-FF5937DF012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5CEEBB1C-8C55-4FB8-A301-543BF01CBBC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8999999999999998</c:v>
                </c:pt>
                <c:pt idx="1">
                  <c:v>0.36</c:v>
                </c:pt>
                <c:pt idx="2">
                  <c:v>0.3</c:v>
                </c:pt>
                <c:pt idx="3">
                  <c:v>0.05</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5</c15:f>
                <c15:dlblRangeCache>
                  <c:ptCount val="4"/>
                  <c:pt idx="0">
                    <c:v>29%</c:v>
                  </c:pt>
                  <c:pt idx="1">
                    <c:v>36%</c:v>
                  </c:pt>
                  <c:pt idx="2">
                    <c:v>30%</c:v>
                  </c:pt>
                  <c:pt idx="3">
                    <c:v>5%</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r>
                      <a:rPr lang="en-US" dirty="0"/>
                      <a:t>-</a:t>
                    </a:r>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AE26-433D-82F1-4674F4195729}"/>
                </c:ext>
              </c:extLst>
            </c:dLbl>
            <c:dLbl>
              <c:idx val="1"/>
              <c:tx>
                <c:rich>
                  <a:bodyPr/>
                  <a:lstStyle/>
                  <a:p>
                    <a:fld id="{17A829D2-2E84-4AB4-B446-96E3F9C1D79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420B5904-F079-477F-81B4-24F02D6496E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0C2EE261-AAAE-44E8-AA1B-C2AC57F5067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7</c:v>
                </c:pt>
                <c:pt idx="2">
                  <c:v>0.52</c:v>
                </c:pt>
                <c:pt idx="3">
                  <c:v>0.31</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L$2:$L$5</c15:f>
                <c15:dlblRangeCache>
                  <c:ptCount val="4"/>
                  <c:pt idx="0">
                    <c:v>0%</c:v>
                  </c:pt>
                  <c:pt idx="1">
                    <c:v>17%</c:v>
                  </c:pt>
                  <c:pt idx="2">
                    <c:v>52%</c:v>
                  </c:pt>
                  <c:pt idx="3">
                    <c:v>31%</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83</c:v>
                </c:pt>
                <c:pt idx="1">
                  <c:v>0.77</c:v>
                </c:pt>
                <c:pt idx="2">
                  <c:v>0.86</c:v>
                </c:pt>
                <c:pt idx="3">
                  <c:v>0.9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113557B1-5DB8-4976-B849-4E3608C4A48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BA5A5272-6B23-4BBB-9444-5EEB09EA2BB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92A953B8-5C06-49E5-A8AC-C36DB068090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17</c:v>
                </c:pt>
                <c:pt idx="1">
                  <c:v>0.23</c:v>
                </c:pt>
                <c:pt idx="2">
                  <c:v>0.14000000000000001</c:v>
                </c:pt>
                <c:pt idx="3">
                  <c:v>0.08</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83%</c:v>
                  </c:pt>
                  <c:pt idx="1">
                    <c:v>77%</c:v>
                  </c:pt>
                  <c:pt idx="2">
                    <c:v>86%</c:v>
                  </c:pt>
                  <c:pt idx="3">
                    <c:v>92%</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3</c:v>
                </c:pt>
                <c:pt idx="1">
                  <c:v>0</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3B648707-1278-494B-9EF7-26ADA95293A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225EFEAA-FE40-4E0E-9924-5E1C09BC02C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9836E8D6-322D-47C8-9470-1EEE14C09BF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15BB8C11-EFF0-4247-AE72-048E81AC40F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7</c:v>
                </c:pt>
                <c:pt idx="1">
                  <c:v>0</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3%</c:v>
                  </c:pt>
                  <c:pt idx="1">
                    <c:v>-</c:v>
                  </c:pt>
                  <c:pt idx="2">
                    <c:v>-</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3</c:v>
                </c:pt>
                <c:pt idx="1">
                  <c:v>0.82</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209319BF-6B6B-4745-8306-814D5A349C0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5083D17F-1B5E-4708-993B-F2F0EC05FBB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AA390F5B-0EF8-4B44-BA73-F733AC6CAE2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07C4B6A1-9826-4818-BBAF-5D8A46686DF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7</c:v>
                </c:pt>
                <c:pt idx="1">
                  <c:v>0.18</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3%</c:v>
                  </c:pt>
                  <c:pt idx="1">
                    <c:v>82%</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2</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7EB32AE4-C61D-41CF-A4A8-10E9B36623D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A681EF62-AF86-444E-90F7-451D92ED989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8</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2%</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4</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4%</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8</c:v>
                </c:pt>
                <c:pt idx="1">
                  <c:v>0.78</c:v>
                </c:pt>
                <c:pt idx="2">
                  <c:v>0.88</c:v>
                </c:pt>
                <c:pt idx="3">
                  <c:v>0.85</c:v>
                </c:pt>
                <c:pt idx="4">
                  <c:v>0.83</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DB414474-AFFD-4C69-948C-12A4F25B826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C9A4E695-E637-4854-9ECE-EF804AD26FB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3B7EE419-279E-49B1-B8DA-2630D717487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5BE89BC3-5AA9-4AD1-9E10-C2300D3D581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2</c:v>
                </c:pt>
                <c:pt idx="1">
                  <c:v>0.22</c:v>
                </c:pt>
                <c:pt idx="2">
                  <c:v>0.12</c:v>
                </c:pt>
                <c:pt idx="3">
                  <c:v>0.15</c:v>
                </c:pt>
                <c:pt idx="4">
                  <c:v>0.17</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8%</c:v>
                  </c:pt>
                  <c:pt idx="1">
                    <c:v>78%</c:v>
                  </c:pt>
                  <c:pt idx="2">
                    <c:v>88%</c:v>
                  </c:pt>
                  <c:pt idx="3">
                    <c:v>85%</c:v>
                  </c:pt>
                  <c:pt idx="4">
                    <c:v>83%</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8</c:v>
                </c:pt>
                <c:pt idx="2">
                  <c:v>0.83</c:v>
                </c:pt>
                <c:pt idx="3">
                  <c:v>0.87</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E0A7D60A-FD15-4B61-8DA4-E1E470E04DE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F5F11012-FBCE-45FA-BA80-6CF7F23F5B7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F03E6630-C340-4B20-95AC-37BF9775F70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2</c:v>
                </c:pt>
                <c:pt idx="2">
                  <c:v>0.17</c:v>
                </c:pt>
                <c:pt idx="3">
                  <c:v>0.13</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c:v>
                  </c:pt>
                  <c:pt idx="1">
                    <c:v>80%</c:v>
                  </c:pt>
                  <c:pt idx="2">
                    <c:v>83%</c:v>
                  </c:pt>
                  <c:pt idx="3">
                    <c:v>87%</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4</c:v>
                </c:pt>
                <c:pt idx="1">
                  <c:v>0</c:v>
                </c:pt>
                <c:pt idx="2">
                  <c:v>0.88</c:v>
                </c:pt>
                <c:pt idx="3">
                  <c:v>0.85</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924B13D3-725E-4917-8EBE-518069146EC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126640EE-5318-45FF-8BFC-8383A85DC1F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D7A0E996-27F7-41BB-B941-2AA908D5370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086826F2-D7A0-4D62-93A1-3CE4023E02B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6</c:v>
                </c:pt>
                <c:pt idx="1">
                  <c:v>0</c:v>
                </c:pt>
                <c:pt idx="2">
                  <c:v>0.12</c:v>
                </c:pt>
                <c:pt idx="3">
                  <c:v>0.15</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4%</c:v>
                  </c:pt>
                  <c:pt idx="1">
                    <c:v>-</c:v>
                  </c:pt>
                  <c:pt idx="2">
                    <c:v>88%</c:v>
                  </c:pt>
                  <c:pt idx="3">
                    <c:v>85%</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2</c:v>
                </c:pt>
                <c:pt idx="1">
                  <c:v>0.87</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1C8A5C45-9AF7-48E3-99D4-17F502ADF79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0C104A49-23D6-4E6A-BEAA-913C93A5286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C1741290-E0DB-483A-99AB-67F57D91727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5A25CF5F-583F-44F9-89B6-E1E7DD33E7F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8</c:v>
                </c:pt>
                <c:pt idx="1">
                  <c:v>0.13</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2%</c:v>
                  </c:pt>
                  <c:pt idx="1">
                    <c:v>87%</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4</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3979312F-415B-41DA-9DAC-D78A31ED9C0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3330DD06-F658-4E15-A276-72DC5D44234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6</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4%</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4</c:v>
                </c:pt>
                <c:pt idx="1">
                  <c:v>91</c:v>
                </c:pt>
                <c:pt idx="2">
                  <c:v>3</c:v>
                </c:pt>
                <c:pt idx="3">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1</c:v>
                </c:pt>
                <c:pt idx="1">
                  <c:v>7</c:v>
                </c:pt>
                <c:pt idx="2">
                  <c:v>2</c:v>
                </c:pt>
                <c:pt idx="3">
                  <c:v>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r>
                      <a:rPr lang="en-US"/>
                      <a:t>47%</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0-115E-48E7-9278-D03DDCBD9794}"/>
                </c:ext>
              </c:extLst>
            </c:dLbl>
            <c:dLbl>
              <c:idx val="1"/>
              <c:tx>
                <c:rich>
                  <a:bodyPr/>
                  <a:lstStyle/>
                  <a:p>
                    <a:fld id="{C13A21D5-F215-4D20-9DC3-ECA81BE0550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fld id="{84244A22-E531-4158-AFB6-70C684439B2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5E1B9D01-5644-472A-B538-1E777F72744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7C2248A8-8320-4123-ABD5-34886AB3829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9F9DBF61-96FB-4AAD-9E68-EA96E0C3A0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290D79EA-FFCB-4120-AB30-17EC2BE079A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7</c:v>
                </c:pt>
                <c:pt idx="1">
                  <c:v>5</c:v>
                </c:pt>
                <c:pt idx="2">
                  <c:v>3</c:v>
                </c:pt>
                <c:pt idx="3">
                  <c:v>3</c:v>
                </c:pt>
                <c:pt idx="4">
                  <c:v>2</c:v>
                </c:pt>
                <c:pt idx="5">
                  <c:v>3</c:v>
                </c:pt>
                <c:pt idx="6">
                  <c:v>4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47%q</c:v>
                  </c:pt>
                  <c:pt idx="1">
                    <c:v>5%</c:v>
                  </c:pt>
                  <c:pt idx="2">
                    <c:v>3%</c:v>
                  </c:pt>
                  <c:pt idx="3">
                    <c:v>3%</c:v>
                  </c:pt>
                  <c:pt idx="4">
                    <c:v>2%</c:v>
                  </c:pt>
                  <c:pt idx="5">
                    <c:v>3%</c:v>
                  </c:pt>
                  <c:pt idx="6">
                    <c:v>43%</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B10EE987-54AA-4F9D-A093-F8AC5DB96DF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r>
                      <a:rPr lang="en-GB"/>
                      <a:t>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305C-4A2F-9A88-03A72AE7F3F6}"/>
                </c:ext>
              </c:extLst>
            </c:dLbl>
            <c:dLbl>
              <c:idx val="3"/>
              <c:tx>
                <c:rich>
                  <a:bodyPr/>
                  <a:lstStyle/>
                  <a:p>
                    <a:fld id="{D95BC583-FFED-42B7-A95B-86194D0F4A7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51D4B1FC-5933-432B-8BA2-8D2CD182609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D2E3A3F6-AE40-4996-998D-89D9BA3F086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E9F0E291-8CEA-4625-9598-9701B1AE787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0</c:v>
                </c:pt>
                <c:pt idx="1">
                  <c:v>10</c:v>
                </c:pt>
                <c:pt idx="2">
                  <c:v>6</c:v>
                </c:pt>
                <c:pt idx="3">
                  <c:v>3</c:v>
                </c:pt>
                <c:pt idx="4">
                  <c:v>14</c:v>
                </c:pt>
                <c:pt idx="5">
                  <c:v>4</c:v>
                </c:pt>
                <c:pt idx="6">
                  <c:v>3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0%</c:v>
                  </c:pt>
                  <c:pt idx="1">
                    <c:v>10%</c:v>
                  </c:pt>
                  <c:pt idx="2">
                    <c:v>6%p</c:v>
                  </c:pt>
                  <c:pt idx="3">
                    <c:v>3%</c:v>
                  </c:pt>
                  <c:pt idx="4">
                    <c:v>14%</c:v>
                  </c:pt>
                  <c:pt idx="5">
                    <c:v>4%</c:v>
                  </c:pt>
                  <c:pt idx="6">
                    <c:v>32%</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06EF-47F1-B883-7748EC1E367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EF-47F1-B883-7748EC1E367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422C6C2F-1BCF-47B3-B5EF-E910BFDF374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5A720CA9-F459-46E3-9A60-39CF887AE51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1</c:v>
                </c:pt>
                <c:pt idx="1">
                  <c:v>8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1%</c:v>
                  </c:pt>
                  <c:pt idx="1">
                    <c:v>89%</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2F0-4CF1-80C7-205225AB80C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2F0-4CF1-80C7-205225AB80C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58259492-4BC8-484B-8B80-AF13D1E1EB0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A9FC021D-E204-4A95-B369-C00C3746BF7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2</c:v>
                </c:pt>
                <c:pt idx="1">
                  <c:v>8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2%</c:v>
                  </c:pt>
                  <c:pt idx="1">
                    <c:v>88%</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5CF-40B3-8374-492CB86772A0}"/>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CF-40B3-8374-492CB86772A0}"/>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8C697E6B-FF8E-4957-91B6-3DAED3B7150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25%</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A5CF-40B3-8374-492CB86772A0}"/>
                </c:ext>
              </c:extLst>
            </c:dLbl>
            <c:dLbl>
              <c:idx val="1"/>
              <c:tx>
                <c:rich>
                  <a:bodyPr/>
                  <a:lstStyle/>
                  <a:p>
                    <a:r>
                      <a:rPr lang="en-GB"/>
                      <a:t>75%</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5</c:v>
                </c:pt>
                <c:pt idx="1">
                  <c:v>7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5%p</c:v>
                  </c:pt>
                  <c:pt idx="1">
                    <c:v>75%q</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8F5C6F2C-5D78-46F9-A273-1C3AC61B376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CFD099E3-358F-4DFF-B152-5730815289D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19C218EA-851F-41BC-A29D-B8DCD2D0A89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379542B1-1BA4-4D1C-BEC3-46CB27ACB5A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62</c:v>
                </c:pt>
                <c:pt idx="1">
                  <c:v>0.37</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62%</c:v>
                  </c:pt>
                  <c:pt idx="1">
                    <c:v>37%</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2C46C267-1A4A-4598-95DA-E3874FB543F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6E1D3B1B-1CBD-474D-BDB2-AB2C5A2F79A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8C8CDD08-FABE-45D9-94A7-DA67C4D361F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7F38AAE7-1C91-4AF9-8B82-2A507D0179D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6999999999999995</c:v>
                </c:pt>
                <c:pt idx="1">
                  <c:v>0.41</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57%</c:v>
                  </c:pt>
                  <c:pt idx="1">
                    <c:v>41%</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819-49AB-9068-B304DBA3CCB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819-49AB-9068-B304DBA3CCB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48A54A0A-6BC9-44BE-9258-DE0530FA822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452D9B93-5CD9-47E4-A789-68A91966824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6</c:v>
                </c:pt>
                <c:pt idx="1">
                  <c:v>7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6%</c:v>
                  </c:pt>
                  <c:pt idx="1">
                    <c:v>74%</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3E6-406A-BD18-9D1352DD1788}"/>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3E6-406A-BD18-9D1352DD1788}"/>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FC3AF063-E33D-4DF3-823B-294804FB9FF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8D6224A2-60B0-4739-B1B5-40D3145FF1F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c:v>
                </c:pt>
                <c:pt idx="1">
                  <c:v>9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c:v>
                  </c:pt>
                  <c:pt idx="1">
                    <c:v>97%</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044-4A9A-8BF8-13AAE32259E6}"/>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044-4A9A-8BF8-13AAE32259E6}"/>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644B1F96-748C-4AD0-A143-0EA3E1A216D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D973C4AD-9C77-4947-9DEC-6C444632A7E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044-4A9A-8BF8-13AAE32259E6}"/>
                </c:ext>
              </c:extLst>
            </c:dLbl>
            <c:dLbl>
              <c:idx val="1"/>
              <c:tx>
                <c:rich>
                  <a:bodyPr/>
                  <a:lstStyle/>
                  <a:p>
                    <a:fld id="{DE9C9D45-FFEF-4075-995A-B9847AE0B90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c:v>
                </c:pt>
                <c:pt idx="1">
                  <c:v>9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c:v>
                  </c:pt>
                  <c:pt idx="1">
                    <c:v>93%</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F166B22B-7F65-4AEF-B833-5D1CE2BAAA0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3EB-456C-B74D-581899DAC290}"/>
                </c:ext>
              </c:extLst>
            </c:dLbl>
            <c:dLbl>
              <c:idx val="1"/>
              <c:tx>
                <c:rich>
                  <a:bodyPr/>
                  <a:lstStyle/>
                  <a:p>
                    <a:fld id="{3498694A-5128-45B2-A318-4F1C861FA5E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fld id="{5CE0B2DB-0791-4E13-B88E-24F6BF599D1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3EB-456C-B74D-581899DAC290}"/>
                </c:ext>
              </c:extLst>
            </c:dLbl>
            <c:dLbl>
              <c:idx val="3"/>
              <c:tx>
                <c:rich>
                  <a:bodyPr/>
                  <a:lstStyle/>
                  <a:p>
                    <a:fld id="{4EBBE41B-4C02-46B0-9E1F-5300F0DEFBE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3EB-456C-B74D-581899DAC290}"/>
                </c:ext>
              </c:extLst>
            </c:dLbl>
            <c:dLbl>
              <c:idx val="4"/>
              <c:tx>
                <c:rich>
                  <a:bodyPr/>
                  <a:lstStyle/>
                  <a:p>
                    <a:fld id="{94225AB6-0656-466A-B9A4-22782A1D0A1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fld id="{3E555A9D-0C39-4260-A875-4C816B1E772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503ECCF0-FBF4-437A-9856-C06CA55A32B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2</c:v>
                </c:pt>
                <c:pt idx="1">
                  <c:v>92</c:v>
                </c:pt>
                <c:pt idx="2">
                  <c:v>84</c:v>
                </c:pt>
                <c:pt idx="3">
                  <c:v>72</c:v>
                </c:pt>
                <c:pt idx="4">
                  <c:v>90</c:v>
                </c:pt>
                <c:pt idx="5">
                  <c:v>35</c:v>
                </c:pt>
                <c:pt idx="6">
                  <c:v>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2%</c:v>
                  </c:pt>
                  <c:pt idx="1">
                    <c:v>92%</c:v>
                  </c:pt>
                  <c:pt idx="2">
                    <c:v>84%</c:v>
                  </c:pt>
                  <c:pt idx="3">
                    <c:v>72%</c:v>
                  </c:pt>
                  <c:pt idx="4">
                    <c:v>90%</c:v>
                  </c:pt>
                  <c:pt idx="5">
                    <c:v>35%</c:v>
                  </c:pt>
                  <c:pt idx="6">
                    <c:v>*</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BCB4CF1E-1D40-40AF-B28C-1B1209C6F17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15C193B0-806A-40E7-98E6-EDD1958B767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fld id="{87563D0B-899A-493F-AC5B-77C1E012A5C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E36-4621-A2A8-3ADDA83CA04C}"/>
                </c:ext>
              </c:extLst>
            </c:dLbl>
            <c:dLbl>
              <c:idx val="3"/>
              <c:tx>
                <c:rich>
                  <a:bodyPr/>
                  <a:lstStyle/>
                  <a:p>
                    <a:fld id="{9D7EFFAB-6850-4446-B812-B8BCEE6202D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36-4621-A2A8-3ADDA83CA04C}"/>
                </c:ext>
              </c:extLst>
            </c:dLbl>
            <c:dLbl>
              <c:idx val="4"/>
              <c:tx>
                <c:rich>
                  <a:bodyPr/>
                  <a:lstStyle/>
                  <a:p>
                    <a:r>
                      <a:rPr lang="en-GB"/>
                      <a:t>84%</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4-3E36-4621-A2A8-3ADDA83CA04C}"/>
                </c:ext>
              </c:extLst>
            </c:dLbl>
            <c:dLbl>
              <c:idx val="5"/>
              <c:tx>
                <c:rich>
                  <a:bodyPr/>
                  <a:lstStyle/>
                  <a:p>
                    <a:fld id="{81947AE1-102E-4472-97D9-A0436461625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AF781D6C-FC0B-48CB-B2C4-A3AD9419019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5</c:v>
                </c:pt>
                <c:pt idx="1">
                  <c:v>89</c:v>
                </c:pt>
                <c:pt idx="2">
                  <c:v>73</c:v>
                </c:pt>
                <c:pt idx="3">
                  <c:v>71</c:v>
                </c:pt>
                <c:pt idx="4">
                  <c:v>84</c:v>
                </c:pt>
                <c:pt idx="5">
                  <c:v>44</c:v>
                </c:pt>
                <c:pt idx="6">
                  <c:v>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5%</c:v>
                  </c:pt>
                  <c:pt idx="1">
                    <c:v>89%</c:v>
                  </c:pt>
                  <c:pt idx="2">
                    <c:v>73%</c:v>
                  </c:pt>
                  <c:pt idx="3">
                    <c:v>71%</c:v>
                  </c:pt>
                  <c:pt idx="4">
                    <c:v>84%q</c:v>
                  </c:pt>
                  <c:pt idx="5">
                    <c:v>44%</c:v>
                  </c:pt>
                  <c:pt idx="6">
                    <c:v>2%</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2</c:v>
                </c:pt>
                <c:pt idx="1">
                  <c:v>31</c:v>
                </c:pt>
                <c:pt idx="2">
                  <c:v>13</c:v>
                </c:pt>
                <c:pt idx="3">
                  <c:v>3</c:v>
                </c:pt>
                <c:pt idx="4">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3</c:v>
                </c:pt>
                <c:pt idx="1">
                  <c:v>32</c:v>
                </c:pt>
                <c:pt idx="2">
                  <c:v>16</c:v>
                </c:pt>
                <c:pt idx="3">
                  <c:v>6</c:v>
                </c:pt>
                <c:pt idx="4">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2AB0201C-9958-4599-A255-81D2562E9BA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77E07547-A2FC-46D5-AC12-2D6A1567DCE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1</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4</c15:f>
                <c15:dlblRangeCache>
                  <c:ptCount val="3"/>
                  <c:pt idx="0">
                    <c:v>100%</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EB293EA2-8477-4CDE-BB45-2337FAA443B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9C45CCAB-4F93-4F61-9B48-6822AFBFDE8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8</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4</c15:f>
                <c15:dlblRangeCache>
                  <c:ptCount val="3"/>
                  <c:pt idx="0">
                    <c:v>98%</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8</c:v>
                </c:pt>
                <c:pt idx="1">
                  <c:v>26</c:v>
                </c:pt>
                <c:pt idx="2">
                  <c:v>66</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5</c:v>
                </c:pt>
                <c:pt idx="1">
                  <c:v>42</c:v>
                </c:pt>
                <c:pt idx="2">
                  <c:v>5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3</c:v>
                </c:pt>
                <c:pt idx="1">
                  <c:v>13</c:v>
                </c:pt>
                <c:pt idx="2">
                  <c:v>30</c:v>
                </c:pt>
                <c:pt idx="3">
                  <c:v>15</c:v>
                </c:pt>
                <c:pt idx="4">
                  <c:v>2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7</c:v>
                </c:pt>
                <c:pt idx="1">
                  <c:v>25</c:v>
                </c:pt>
                <c:pt idx="2">
                  <c:v>19</c:v>
                </c:pt>
                <c:pt idx="3">
                  <c:v>19</c:v>
                </c:pt>
                <c:pt idx="4">
                  <c:v>2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1.9E-2</c:v>
                </c:pt>
                <c:pt idx="1">
                  <c:v>0.152</c:v>
                </c:pt>
                <c:pt idx="2">
                  <c:v>0.23699999999999999</c:v>
                </c:pt>
                <c:pt idx="3">
                  <c:v>0.20899999999999999</c:v>
                </c:pt>
                <c:pt idx="4">
                  <c:v>0.382000000000000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2.4E-2</c:v>
                </c:pt>
                <c:pt idx="1">
                  <c:v>0.182</c:v>
                </c:pt>
                <c:pt idx="2">
                  <c:v>0.27</c:v>
                </c:pt>
                <c:pt idx="3">
                  <c:v>0.22600000000000001</c:v>
                </c:pt>
                <c:pt idx="4">
                  <c:v>0.2969999999999999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9</c:v>
                </c:pt>
                <c:pt idx="1">
                  <c:v>8</c:v>
                </c:pt>
                <c:pt idx="2">
                  <c:v>27</c:v>
                </c:pt>
                <c:pt idx="3">
                  <c:v>21</c:v>
                </c:pt>
                <c:pt idx="4">
                  <c:v>3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1</c:v>
                </c:pt>
                <c:pt idx="1">
                  <c:v>15</c:v>
                </c:pt>
                <c:pt idx="2">
                  <c:v>21</c:v>
                </c:pt>
                <c:pt idx="3">
                  <c:v>23</c:v>
                </c:pt>
                <c:pt idx="4">
                  <c:v>3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5</c:v>
                </c:pt>
                <c:pt idx="1">
                  <c:v>22</c:v>
                </c:pt>
                <c:pt idx="2">
                  <c:v>28</c:v>
                </c:pt>
                <c:pt idx="3">
                  <c:v>16</c:v>
                </c:pt>
                <c:pt idx="4">
                  <c:v>1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9</c:v>
                </c:pt>
                <c:pt idx="1">
                  <c:v>30</c:v>
                </c:pt>
                <c:pt idx="2">
                  <c:v>21</c:v>
                </c:pt>
                <c:pt idx="3">
                  <c:v>13</c:v>
                </c:pt>
                <c:pt idx="4">
                  <c:v>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838AFBDB-01DE-4E6A-8040-2220ADF268C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550B72B4-E2B9-49EC-A82A-4D296509AF3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EF027152-B620-48ED-B376-9F6989EF61E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884F21DC-0E65-4B88-8AC5-05A1CA7B5CD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3</c:v>
                </c:pt>
                <c:pt idx="1">
                  <c:v>0</c:v>
                </c:pt>
                <c:pt idx="2">
                  <c:v>0.03</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93%</c:v>
                  </c:pt>
                  <c:pt idx="1">
                    <c:v>-</c:v>
                  </c:pt>
                  <c:pt idx="2">
                    <c:v>3%</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EB459C52-0C38-42E6-BE92-0377C57BDC6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CA284A70-BAF2-4A9C-B732-14B2D88F38E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527B39CF-1DD4-4DD4-81EF-A56B61E415B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4DB90884-6DAC-4746-A671-3BB399EFDE8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77</c:v>
                </c:pt>
                <c:pt idx="1">
                  <c:v>0.02</c:v>
                </c:pt>
                <c:pt idx="2">
                  <c:v>0.14000000000000001</c:v>
                </c:pt>
                <c:pt idx="3">
                  <c:v>0.04</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77%</c:v>
                  </c:pt>
                  <c:pt idx="1">
                    <c:v>2%</c:v>
                  </c:pt>
                  <c:pt idx="2">
                    <c:v>14%</c:v>
                  </c:pt>
                  <c:pt idx="3">
                    <c:v>4%</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9</c:v>
                </c:pt>
                <c:pt idx="1">
                  <c:v>6</c:v>
                </c:pt>
                <c:pt idx="2">
                  <c:v>33</c:v>
                </c:pt>
                <c:pt idx="3">
                  <c:v>18</c:v>
                </c:pt>
                <c:pt idx="4">
                  <c:v>3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3</c:v>
                </c:pt>
                <c:pt idx="1">
                  <c:v>17</c:v>
                </c:pt>
                <c:pt idx="2">
                  <c:v>27</c:v>
                </c:pt>
                <c:pt idx="3">
                  <c:v>20</c:v>
                </c:pt>
                <c:pt idx="4">
                  <c:v>2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10</c:v>
                </c:pt>
                <c:pt idx="1">
                  <c:v>21</c:v>
                </c:pt>
                <c:pt idx="2">
                  <c:v>45</c:v>
                </c:pt>
                <c:pt idx="3">
                  <c:v>2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4</c:v>
                </c:pt>
                <c:pt idx="1">
                  <c:v>35</c:v>
                </c:pt>
                <c:pt idx="2">
                  <c:v>34</c:v>
                </c:pt>
                <c:pt idx="3">
                  <c:v>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3</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5</c:v>
                </c:pt>
                <c:pt idx="1">
                  <c:v>37</c:v>
                </c:pt>
                <c:pt idx="2">
                  <c:v>10</c:v>
                </c:pt>
                <c:pt idx="3">
                  <c:v>4</c:v>
                </c:pt>
                <c:pt idx="4">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6</c:v>
                </c:pt>
                <c:pt idx="1">
                  <c:v>25</c:v>
                </c:pt>
                <c:pt idx="2">
                  <c:v>3</c:v>
                </c:pt>
                <c:pt idx="3">
                  <c:v>3</c:v>
                </c:pt>
                <c:pt idx="4">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1</c:v>
                </c:pt>
                <c:pt idx="1">
                  <c:v>52</c:v>
                </c:pt>
                <c:pt idx="2">
                  <c:v>14</c:v>
                </c:pt>
                <c:pt idx="3">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4</c:v>
                </c:pt>
                <c:pt idx="1">
                  <c:v>52</c:v>
                </c:pt>
                <c:pt idx="2">
                  <c:v>13</c:v>
                </c:pt>
                <c:pt idx="3">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38</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863-4EF3-8628-514246B9651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863-4EF3-8628-514246B9651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C5A6F1E4-C293-4D63-A81E-EF2E2B2766E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2948AB59-FE96-41CD-8F82-9092B66EB28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8</c:v>
                </c:pt>
                <c:pt idx="1">
                  <c:v>2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8%</c:v>
                  </c:pt>
                  <c:pt idx="1">
                    <c:v>22%</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E5E-4713-BCB6-17010B44716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E5E-4713-BCB6-17010B44716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41A51BC4-CB23-44D2-9815-B313296CD42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83C7573B-3D34-456A-90D8-D52129E092E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4E5E-4713-BCB6-17010B447163}"/>
                </c:ext>
              </c:extLst>
            </c:dLbl>
            <c:dLbl>
              <c:idx val="1"/>
              <c:tx>
                <c:rich>
                  <a:bodyPr/>
                  <a:lstStyle/>
                  <a:p>
                    <a:fld id="{FCBDCB13-C834-4CD4-B303-C550443001D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2%</c:v>
                  </c:pt>
                  <c:pt idx="1">
                    <c:v>18%</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FB6-49AC-A845-714BC7862DE1}"/>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FB6-49AC-A845-714BC7862DE1}"/>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C5E46D46-1137-421D-A42E-890148D48E6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C2813D1F-58F7-4BE8-A197-30ACA49B3C2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4</c:v>
                </c:pt>
                <c:pt idx="1">
                  <c:v>3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4%</c:v>
                  </c:pt>
                  <c:pt idx="1">
                    <c:v>36%</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1B2-481E-8927-CB542BF48EB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1B2-481E-8927-CB542BF48EB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F5A26246-4FBF-46D6-AA09-72909FDE24D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8550B380-7989-47C3-91A4-D688DC1F66F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6</c:v>
                </c:pt>
                <c:pt idx="1">
                  <c:v>2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6%</c:v>
                  </c:pt>
                  <c:pt idx="1">
                    <c:v>24%</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BD0-417A-9AE1-625975EDEF4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BD0-417A-9AE1-625975EDEF4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483C0850-3C51-49BF-962B-72E32B24D71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BF55C5F1-0451-4841-87FE-8891A484746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1</c:v>
                </c:pt>
                <c:pt idx="1">
                  <c:v>5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1%</c:v>
                  </c:pt>
                  <c:pt idx="1">
                    <c:v>59%</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31F-4356-B084-576816CB2DE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31F-4356-B084-576816CB2DE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DE1052C4-279F-48A8-9EFC-B94744C5C61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48%</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331F-4356-B084-576816CB2DE3}"/>
                </c:ext>
              </c:extLst>
            </c:dLbl>
            <c:dLbl>
              <c:idx val="1"/>
              <c:tx>
                <c:rich>
                  <a:bodyPr/>
                  <a:lstStyle/>
                  <a:p>
                    <a:r>
                      <a:rPr lang="en-GB"/>
                      <a:t>52%</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8</c:v>
                </c:pt>
                <c:pt idx="1">
                  <c:v>5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8%p</c:v>
                  </c:pt>
                  <c:pt idx="1">
                    <c:v>52%q</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E81-4665-B9F1-19FE31D5928C}"/>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E81-4665-B9F1-19FE31D5928C}"/>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DAF4B334-C3CA-415C-86AD-DDC0C39099F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FAC435BA-769B-4754-973D-4E35C33BBC1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6</c:v>
                </c:pt>
                <c:pt idx="1">
                  <c:v>5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6%</c:v>
                  </c:pt>
                  <c:pt idx="1">
                    <c:v>54%</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1DD-430C-8FF3-E4B09270E25F}"/>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DD-430C-8FF3-E4B09270E25F}"/>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B3DB7378-63AD-4A19-8E47-E36E9887F23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71C7751A-5EA3-4CA1-BB48-D5F5BCB40E1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3</c:v>
                </c:pt>
                <c:pt idx="1">
                  <c:v>6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3%</c:v>
                  </c:pt>
                  <c:pt idx="1">
                    <c:v>67%</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F3E-4C45-9DAC-B2929C4B2C2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F3E-4C45-9DAC-B2929C4B2C2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3677B376-2496-4317-860D-541E57AE6FB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9FEA5140-974D-4205-A293-FA22A4B09EC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1</c:v>
                </c:pt>
                <c:pt idx="1">
                  <c:v>1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1%</c:v>
                  </c:pt>
                  <c:pt idx="1">
                    <c:v>19%</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F81-41A0-AA5F-E21FFFB8EB7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F81-41A0-AA5F-E21FFFB8EB7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F0E9AFD0-BABA-4777-B5B6-5FAD0CB1E2B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1%</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5F81-41A0-AA5F-E21FFFB8EB7E}"/>
                </c:ext>
              </c:extLst>
            </c:dLbl>
            <c:dLbl>
              <c:idx val="1"/>
              <c:tx>
                <c:rich>
                  <a:bodyPr/>
                  <a:lstStyle/>
                  <a:p>
                    <a:r>
                      <a:rPr lang="en-GB"/>
                      <a:t>19%</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1</c:v>
                </c:pt>
                <c:pt idx="1">
                  <c:v>1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81%p</c:v>
                  </c:pt>
                  <c:pt idx="1">
                    <c:v>19%q</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532-49D4-9643-2B7F1FC6412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532-49D4-9643-2B7F1FC6412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8598AB0C-6B1B-442E-9CA4-CDCDD17822D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A3DA5CB9-F00B-49E8-8A2B-789A5645818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6</c:v>
                </c:pt>
                <c:pt idx="1">
                  <c:v>3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6%</c:v>
                  </c:pt>
                  <c:pt idx="1">
                    <c:v>34%</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C56-4EA4-9136-CE48FDDBE16D}"/>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C56-4EA4-9136-CE48FDDBE16D}"/>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B0BA3848-9445-4244-8C12-1BCD78622AF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F76EB2ED-3927-4070-BB38-373EE3A9447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3</c:v>
                </c:pt>
                <c:pt idx="1">
                  <c:v>4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3%</c:v>
                  </c:pt>
                  <c:pt idx="1">
                    <c:v>47%</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011-40D3-80BA-F4CA421B82A7}"/>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011-40D3-80BA-F4CA421B82A7}"/>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5C50BB15-CC76-4637-8796-F870725FCF5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E512B4B1-B0CD-4D0B-B55C-187C75923F5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7</c:v>
                </c:pt>
                <c:pt idx="1">
                  <c:v>2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7%</c:v>
                  </c:pt>
                  <c:pt idx="1">
                    <c:v>23%</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A96-46F4-8DED-A8EE18A7949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A96-46F4-8DED-A8EE18A7949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2FC0B20F-84DF-461C-B5BD-A9511112E58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68E6B6E5-FFD4-4314-9455-F0918774E66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7</c:v>
                </c:pt>
                <c:pt idx="1">
                  <c:v>2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7%</c:v>
                  </c:pt>
                  <c:pt idx="1">
                    <c:v>23%</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44</c:v>
                </c:pt>
                <c:pt idx="1">
                  <c:v>37</c:v>
                </c:pt>
                <c:pt idx="2">
                  <c:v>2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42</c:v>
                </c:pt>
                <c:pt idx="1">
                  <c:v>50</c:v>
                </c:pt>
                <c:pt idx="2">
                  <c:v>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65AD1748-9625-4825-99C5-BB737F7E4F2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r>
                      <a:rPr lang="en-GB"/>
                      <a:t>71%</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7519-4C1F-9643-9A55D10271AC}"/>
                </c:ext>
              </c:extLst>
            </c:dLbl>
            <c:dLbl>
              <c:idx val="3"/>
              <c:tx>
                <c:rich>
                  <a:bodyPr/>
                  <a:lstStyle/>
                  <a:p>
                    <a:fld id="{061A077F-AE16-4F66-9572-234944CED63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7BA86765-A0A3-491E-918E-3AB54092FB7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3D620C9D-B46A-4C31-9D3B-E1BAF46557C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360DC0FF-ABE2-4EBD-A899-B857C254005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4</c:v>
                </c:pt>
                <c:pt idx="1">
                  <c:v>7</c:v>
                </c:pt>
                <c:pt idx="2">
                  <c:v>71</c:v>
                </c:pt>
                <c:pt idx="3">
                  <c:v>29</c:v>
                </c:pt>
                <c:pt idx="4">
                  <c:v>21</c:v>
                </c:pt>
                <c:pt idx="5">
                  <c:v>15</c:v>
                </c:pt>
                <c:pt idx="6">
                  <c:v>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64%</c:v>
                  </c:pt>
                  <c:pt idx="1">
                    <c:v>7%</c:v>
                  </c:pt>
                  <c:pt idx="2">
                    <c:v>71%p</c:v>
                  </c:pt>
                  <c:pt idx="3">
                    <c:v>29%</c:v>
                  </c:pt>
                  <c:pt idx="4">
                    <c:v>21%</c:v>
                  </c:pt>
                  <c:pt idx="5">
                    <c:v>15%</c:v>
                  </c:pt>
                  <c:pt idx="6">
                    <c:v>7%</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860FA16D-D550-43AD-9A76-CF09E790C06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3A7A52E1-5A9A-471C-A0F7-94ED64DBF30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3F2AA983-E73B-4B82-B5A5-72BE9B4CB8C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41EAFABC-8789-425E-8E0E-5343C949B6A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AE2D0A39-94CB-466A-8904-50E0BBB956F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1CC6001C-313C-4CEE-AE00-CCB8A35D36F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7</c:v>
                </c:pt>
                <c:pt idx="1">
                  <c:v>14</c:v>
                </c:pt>
                <c:pt idx="2">
                  <c:v>35</c:v>
                </c:pt>
                <c:pt idx="3">
                  <c:v>45</c:v>
                </c:pt>
                <c:pt idx="4">
                  <c:v>10</c:v>
                </c:pt>
                <c:pt idx="5">
                  <c:v>14</c:v>
                </c:pt>
                <c:pt idx="6">
                  <c:v>1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27%</c:v>
                  </c:pt>
                  <c:pt idx="1">
                    <c:v>14%</c:v>
                  </c:pt>
                  <c:pt idx="2">
                    <c:v>35%</c:v>
                  </c:pt>
                  <c:pt idx="3">
                    <c:v>45%</c:v>
                  </c:pt>
                  <c:pt idx="4">
                    <c:v>10%</c:v>
                  </c:pt>
                  <c:pt idx="5">
                    <c:v>14%</c:v>
                  </c:pt>
                  <c:pt idx="6">
                    <c:v>13%</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3</c:v>
                </c:pt>
                <c:pt idx="1">
                  <c:v>37</c:v>
                </c:pt>
                <c:pt idx="2">
                  <c:v>8</c:v>
                </c:pt>
                <c:pt idx="3">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8</c:v>
                </c:pt>
                <c:pt idx="1">
                  <c:v>37</c:v>
                </c:pt>
                <c:pt idx="2">
                  <c:v>4</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8</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2%</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c:v>
                </c:pt>
                <c:pt idx="1">
                  <c:v>0.75</c:v>
                </c:pt>
                <c:pt idx="2">
                  <c:v>0.86</c:v>
                </c:pt>
                <c:pt idx="3">
                  <c:v>0.86</c:v>
                </c:pt>
                <c:pt idx="4">
                  <c:v>0.8</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A78DDC07-4B7E-4EFE-86C3-1C20FE9BE09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1AD74785-DD2F-4910-AF58-04A139B17CC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86658CF5-E788-431F-9735-FBE239E30F8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9BE5668D-1BC9-4633-965F-412018BF262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c:v>
                </c:pt>
                <c:pt idx="1">
                  <c:v>0.25</c:v>
                </c:pt>
                <c:pt idx="2">
                  <c:v>0.14000000000000001</c:v>
                </c:pt>
                <c:pt idx="3">
                  <c:v>0.14000000000000001</c:v>
                </c:pt>
                <c:pt idx="4">
                  <c:v>0.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c:v>
                  </c:pt>
                  <c:pt idx="1">
                    <c:v>75%</c:v>
                  </c:pt>
                  <c:pt idx="2">
                    <c:v>86%</c:v>
                  </c:pt>
                  <c:pt idx="3">
                    <c:v>86%</c:v>
                  </c:pt>
                  <c:pt idx="4">
                    <c:v>80%</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HERTFORDSHIRE AND WEST ESSEX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HERTFORDSHIRE AND WEST ESSEX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HERTFORDSHIRE AND WEST ESSEX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HERTFORDSHIRE AND WEST ESSEX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HERTFORDSHIRE AND WEST ESSEX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2900" b="0" dirty="0">
                <a:solidFill>
                  <a:prstClr val="white"/>
                </a:solidFill>
                <a:latin typeface="Arial Black" panose="020B0A04020102020204" pitchFamily="34" charset="0"/>
              </a:rPr>
              <a:t>HERTFORDSHIRE AND WEST ESSEX INTEGRATED CARE SYSTEM</a:t>
            </a:r>
            <a:endParaRPr lang="en-GB" sz="29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1628001449"/>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571623538"/>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636406304"/>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providing support to monitor blood sugar levels
Healthcare professionals providing support in taking part in physical activity</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45978565"/>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HERTFORDSHIRE AND WEST ESSEX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274386666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369929002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1% of respondents who were marked as Type 1 in the sample selected ‘Type 1’, 7% selected ‘Type 2’, 2% selected ‘Other’ and *% selected ‘I don’t know’ ​</a:t>
            </a:r>
          </a:p>
          <a:p>
            <a:pPr marL="171450" indent="-171450">
              <a:buFont typeface="Arial" panose="020B0604020202020204" pitchFamily="34" charset="0"/>
              <a:buChar char="•"/>
              <a:defRPr/>
            </a:pPr>
            <a:r>
              <a:rPr lang="en-GB" sz="1200" dirty="0">
                <a:solidFill>
                  <a:schemeClr val="tx1"/>
                </a:solidFill>
                <a:effectLst/>
              </a:rPr>
              <a:t>91% of respondents who were marked as Type 2 in the sample selected ‘Type 2’, 4% selected ‘Type 1’, 3% selected ‘Other’ and 3%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451); Type 2, ICS (569)).</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2576473550"/>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519897087"/>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4154661400"/>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415646754"/>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153737861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91); Type 2, National (19,941), ICS (459))</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182061031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399388435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91); Type 2, National (22,278), ICS (531))</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390223944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183042433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36); Type 2, National (21,082), ICS (491))</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102983215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86234942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449); Type 2, National (24,180), ICS (568))</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3253240729"/>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1420334324"/>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2277880460"/>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1076090648"/>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249446060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429); Type 2, National (22,482), ICS (532))</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255379930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105701320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61670477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266717437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172314781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356727695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241277261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85009652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268971308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435); Type 2, National (22,670), ICS (540))</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265309095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72776189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351814497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416836608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154325099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274268138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264270002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17517880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261758926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449); Type 2, National (24,076), ICS (563))</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370525747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282165690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33829555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293968201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78084518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155450209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208910978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116787111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450); Type 2, National (24,153), ICS (565))</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213937816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349725486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191415563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166809196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419147416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123406858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1843682574"/>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174317848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319952608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450); Type 2, National (24,135), ICS (567))</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11148337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414099837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245438710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111664583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235297197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343804912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409372540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413048076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5653835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49); Type 2, National (24,084), ICS (566))</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308259529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148198423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37708925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328635493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416461867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75165770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180033990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46401065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363741566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50); Type 2, National (24,070), ICS (569))</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272763135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2098533681"/>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151375130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3059887108"/>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2407420108"/>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138068116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3796089425"/>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207828727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312984659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50); Type 2, National (24,260), ICS (568))</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172508561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313413314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365728572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264099122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411253774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315223531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13307128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172594637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314667426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449); Type 2, National (24,267), ICS (568))</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286403588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178902032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210813139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56730703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413417608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18986407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186250407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163878028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197403523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49); Type 2, National (24,196), ICS (571))</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316951186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150596101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225292272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448); Type 2, National (24,019), ICS (567))</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188923653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100755809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204); Type 2, National (11,860), ICS (299))</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108161752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171044891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436); Type 2, National (21,228), ICS (511))</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364756319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419447138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434); Type 2, National (20,915), ICS (498))</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366349945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3087391172"/>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413); Type 2, National (20,086), ICS (485))</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264544427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349690794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425); Type 2, National (21,890), ICS (510))</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82315545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86178531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402); Type 2, National (18,585), ICS (435))</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144704099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179409805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388560306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177259948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289823556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98844551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58675985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18258601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436); Type 2, National (22,580), ICS (533))</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278242702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2075700569"/>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2014548884"/>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4052850121"/>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925447705"/>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52880633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327); Type 2, National (12,350), ICS (295))</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249132966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1382612541"/>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248343591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182697932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300629979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3014748534"/>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367440097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338426080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432); Type 2, National (10,911), ICS (268))</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120309140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1992034977"/>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2216610839"/>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3572733959"/>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3464781232"/>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605642555"/>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3534420939"/>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427))</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1862258681"/>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1270663600"/>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2740248753"/>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238463814"/>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238936483"/>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514784946"/>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33))</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HERTFORDSHIRE AND WEST ESSEX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560</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1,023</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40%</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451</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72</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042</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518</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76927462"/>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3507111354"/>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3935736000"/>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809011718"/>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3441888029"/>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3406115270"/>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4108610337"/>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HERTFORDSHIRE AND WEST ESSEX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1138280035"/>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499019779"/>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598896959"/>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having a conversation about what would happen next with their diabetes care at the time of diagnosis
Having a blood test check as part of their last annual review</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826485831"/>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3.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03</TotalTime>
  <Words>5300</Words>
  <Application>Microsoft Office PowerPoint</Application>
  <PresentationFormat>Widescreen</PresentationFormat>
  <Paragraphs>806</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Barlow</vt:lpstr>
      <vt:lpstr>Wingdings</vt:lpstr>
      <vt:lpstr>Arial Black</vt:lpstr>
      <vt:lpstr>Arial (Body)</vt:lpstr>
      <vt:lpstr>Arial</vt:lpstr>
      <vt:lpstr>Wingdings 3</vt:lpstr>
      <vt:lpstr>HelveticaNeueLT Std Lt Cn</vt:lpstr>
      <vt:lpstr>Segoe UI</vt:lpstr>
      <vt:lpstr>Roboto</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Jane Stevens</cp:lastModifiedBy>
  <cp:revision>175</cp:revision>
  <cp:lastPrinted>2024-09-17T13:37:47Z</cp:lastPrinted>
  <dcterms:created xsi:type="dcterms:W3CDTF">2024-06-17T14:42:21Z</dcterms:created>
  <dcterms:modified xsi:type="dcterms:W3CDTF">2024-12-04T10:54:4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